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4841" r:id="rId2"/>
    <p:sldId id="8496" r:id="rId3"/>
    <p:sldId id="8500" r:id="rId4"/>
    <p:sldId id="8503" r:id="rId5"/>
    <p:sldId id="8504" r:id="rId6"/>
    <p:sldId id="8505" r:id="rId7"/>
    <p:sldId id="8498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60066B-9741-4B1D-A24C-A728A08093FB}" v="6" dt="2025-04-01T06:53:16.92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8" d="100"/>
          <a:sy n="58" d="100"/>
        </p:scale>
        <p:origin x="11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da Najeeb" userId="18bda5da-c516-483a-8533-42270cbeb731" providerId="ADAL" clId="{7960066B-9741-4B1D-A24C-A728A08093FB}"/>
    <pc:docChg chg="undo custSel addSld delSld modSld">
      <pc:chgData name="Shada Najeeb" userId="18bda5da-c516-483a-8533-42270cbeb731" providerId="ADAL" clId="{7960066B-9741-4B1D-A24C-A728A08093FB}" dt="2025-04-01T06:56:17.504" v="127" actId="207"/>
      <pc:docMkLst>
        <pc:docMk/>
      </pc:docMkLst>
      <pc:sldChg chg="del">
        <pc:chgData name="Shada Najeeb" userId="18bda5da-c516-483a-8533-42270cbeb731" providerId="ADAL" clId="{7960066B-9741-4B1D-A24C-A728A08093FB}" dt="2025-04-01T06:43:29.954" v="1" actId="47"/>
        <pc:sldMkLst>
          <pc:docMk/>
          <pc:sldMk cId="4002866522" sldId="256"/>
        </pc:sldMkLst>
      </pc:sldChg>
      <pc:sldChg chg="modSp add mod">
        <pc:chgData name="Shada Najeeb" userId="18bda5da-c516-483a-8533-42270cbeb731" providerId="ADAL" clId="{7960066B-9741-4B1D-A24C-A728A08093FB}" dt="2025-04-01T06:44:19.009" v="10" actId="20577"/>
        <pc:sldMkLst>
          <pc:docMk/>
          <pc:sldMk cId="3150563481" sldId="4841"/>
        </pc:sldMkLst>
        <pc:spChg chg="mod">
          <ac:chgData name="Shada Najeeb" userId="18bda5da-c516-483a-8533-42270cbeb731" providerId="ADAL" clId="{7960066B-9741-4B1D-A24C-A728A08093FB}" dt="2025-04-01T06:44:19.009" v="10" actId="20577"/>
          <ac:spMkLst>
            <pc:docMk/>
            <pc:sldMk cId="3150563481" sldId="4841"/>
            <ac:spMk id="2" creationId="{83313EA9-159A-4AD7-9FEA-825643FACFD9}"/>
          </ac:spMkLst>
        </pc:spChg>
      </pc:sldChg>
      <pc:sldChg chg="modSp add mod">
        <pc:chgData name="Shada Najeeb" userId="18bda5da-c516-483a-8533-42270cbeb731" providerId="ADAL" clId="{7960066B-9741-4B1D-A24C-A728A08093FB}" dt="2025-04-01T06:44:27.359" v="12" actId="27636"/>
        <pc:sldMkLst>
          <pc:docMk/>
          <pc:sldMk cId="2105186150" sldId="8496"/>
        </pc:sldMkLst>
        <pc:spChg chg="mod">
          <ac:chgData name="Shada Najeeb" userId="18bda5da-c516-483a-8533-42270cbeb731" providerId="ADAL" clId="{7960066B-9741-4B1D-A24C-A728A08093FB}" dt="2025-04-01T06:44:27.359" v="12" actId="27636"/>
          <ac:spMkLst>
            <pc:docMk/>
            <pc:sldMk cId="2105186150" sldId="8496"/>
            <ac:spMk id="17" creationId="{2EEF4128-4C15-4AA1-B41D-1C327A884A8D}"/>
          </ac:spMkLst>
        </pc:spChg>
      </pc:sldChg>
      <pc:sldChg chg="add">
        <pc:chgData name="Shada Najeeb" userId="18bda5da-c516-483a-8533-42270cbeb731" providerId="ADAL" clId="{7960066B-9741-4B1D-A24C-A728A08093FB}" dt="2025-04-01T06:53:16.912" v="126"/>
        <pc:sldMkLst>
          <pc:docMk/>
          <pc:sldMk cId="1636512722" sldId="8498"/>
        </pc:sldMkLst>
      </pc:sldChg>
      <pc:sldChg chg="add">
        <pc:chgData name="Shada Najeeb" userId="18bda5da-c516-483a-8533-42270cbeb731" providerId="ADAL" clId="{7960066B-9741-4B1D-A24C-A728A08093FB}" dt="2025-04-01T06:44:35.482" v="13"/>
        <pc:sldMkLst>
          <pc:docMk/>
          <pc:sldMk cId="2915432001" sldId="8500"/>
        </pc:sldMkLst>
      </pc:sldChg>
      <pc:sldChg chg="addSp delSp modSp add mod">
        <pc:chgData name="Shada Najeeb" userId="18bda5da-c516-483a-8533-42270cbeb731" providerId="ADAL" clId="{7960066B-9741-4B1D-A24C-A728A08093FB}" dt="2025-04-01T06:48:41.117" v="95" actId="12"/>
        <pc:sldMkLst>
          <pc:docMk/>
          <pc:sldMk cId="1869484760" sldId="8503"/>
        </pc:sldMkLst>
        <pc:spChg chg="mod">
          <ac:chgData name="Shada Najeeb" userId="18bda5da-c516-483a-8533-42270cbeb731" providerId="ADAL" clId="{7960066B-9741-4B1D-A24C-A728A08093FB}" dt="2025-04-01T06:48:41.117" v="95" actId="12"/>
          <ac:spMkLst>
            <pc:docMk/>
            <pc:sldMk cId="1869484760" sldId="8503"/>
            <ac:spMk id="3" creationId="{BE51CEA1-1053-741C-3A2D-D314F178CE3C}"/>
          </ac:spMkLst>
        </pc:spChg>
        <pc:spChg chg="add del">
          <ac:chgData name="Shada Najeeb" userId="18bda5da-c516-483a-8533-42270cbeb731" providerId="ADAL" clId="{7960066B-9741-4B1D-A24C-A728A08093FB}" dt="2025-04-01T06:46:36.485" v="20" actId="22"/>
          <ac:spMkLst>
            <pc:docMk/>
            <pc:sldMk cId="1869484760" sldId="8503"/>
            <ac:spMk id="5" creationId="{EE735245-FA02-29C5-20F8-48D6DF41F261}"/>
          </ac:spMkLst>
        </pc:spChg>
      </pc:sldChg>
      <pc:sldChg chg="modSp new mod">
        <pc:chgData name="Shada Najeeb" userId="18bda5da-c516-483a-8533-42270cbeb731" providerId="ADAL" clId="{7960066B-9741-4B1D-A24C-A728A08093FB}" dt="2025-04-01T06:56:17.504" v="127" actId="207"/>
        <pc:sldMkLst>
          <pc:docMk/>
          <pc:sldMk cId="416227951" sldId="8504"/>
        </pc:sldMkLst>
        <pc:spChg chg="mod">
          <ac:chgData name="Shada Najeeb" userId="18bda5da-c516-483a-8533-42270cbeb731" providerId="ADAL" clId="{7960066B-9741-4B1D-A24C-A728A08093FB}" dt="2025-04-01T06:46:55.031" v="27" actId="27636"/>
          <ac:spMkLst>
            <pc:docMk/>
            <pc:sldMk cId="416227951" sldId="8504"/>
            <ac:spMk id="2" creationId="{163EFB57-839C-E88A-FC99-ACB0BD3E0038}"/>
          </ac:spMkLst>
        </pc:spChg>
        <pc:spChg chg="mod">
          <ac:chgData name="Shada Najeeb" userId="18bda5da-c516-483a-8533-42270cbeb731" providerId="ADAL" clId="{7960066B-9741-4B1D-A24C-A728A08093FB}" dt="2025-04-01T06:56:17.504" v="127" actId="207"/>
          <ac:spMkLst>
            <pc:docMk/>
            <pc:sldMk cId="416227951" sldId="8504"/>
            <ac:spMk id="3" creationId="{B091A8AC-886B-8D0E-ACA8-C628F4F7AC40}"/>
          </ac:spMkLst>
        </pc:spChg>
      </pc:sldChg>
      <pc:sldChg chg="modSp add mod">
        <pc:chgData name="Shada Najeeb" userId="18bda5da-c516-483a-8533-42270cbeb731" providerId="ADAL" clId="{7960066B-9741-4B1D-A24C-A728A08093FB}" dt="2025-04-01T06:53:06.230" v="125" actId="20577"/>
        <pc:sldMkLst>
          <pc:docMk/>
          <pc:sldMk cId="854510940" sldId="8505"/>
        </pc:sldMkLst>
        <pc:spChg chg="mod">
          <ac:chgData name="Shada Najeeb" userId="18bda5da-c516-483a-8533-42270cbeb731" providerId="ADAL" clId="{7960066B-9741-4B1D-A24C-A728A08093FB}" dt="2025-04-01T06:53:06.230" v="125" actId="20577"/>
          <ac:spMkLst>
            <pc:docMk/>
            <pc:sldMk cId="854510940" sldId="8505"/>
            <ac:spMk id="2" creationId="{503D1202-0FB3-DE15-1E24-738FFAA06A8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C4132D-9FA6-494A-8BF7-353DE3D2E980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4F0C-3338-4EE7-B137-F8BAF7D8FA3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0912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0DFA88-1A61-46E6-B086-CD77EA707F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030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43DB6-2A4D-A83F-4FA3-8E6E19FE5B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846553-5AC0-BE0D-91AF-2D5F8B5CD4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3D66F8-40FF-90BD-E29D-DAAF94A64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B968F8-26F5-C48A-D61A-83DF4D1F3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9B3B14-62C8-5373-A6C8-ED514DC9E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214979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11ECD-21BC-8153-9ABB-AB357D5403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DE494BE-5FD3-B0D4-F93B-0B2A59296C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14808E-DE52-56A2-8384-DCCF0800E1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8FC89F-BBB3-111E-8D32-2D731653A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6FB38F-4120-1022-C9CD-E934E0798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3256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1109D87-4607-88F2-9B49-F2E43391C4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0901FC-CB36-57C2-4BC7-6E963A261E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EE4F5A-5AD3-2AEE-FB0A-D1D2771A0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000BC4-0F8A-EE11-4103-1255EBD2C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C064D8-5FAE-BF3E-E936-FFB929CDF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4501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- Light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FBFCF6A-71E0-4CB2-A2CD-9D1D05D4506B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3A690-B3A5-4178-89C6-46FF4B6146CB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7E990F-7E98-4AA2-85D4-1DB1EF6784C6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chemeClr val="bg1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B3E32B-D281-4874-9BA9-6386028CEDDF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9970367-21EB-4524-87D0-64F48DE91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>
              <a:defRPr sz="4400" spc="-100" baseline="0">
                <a:solidFill>
                  <a:srgbClr val="252F38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FF8EBD2-C35F-47C1-BC90-1B66384203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B47C9E8-3F27-4DFA-B981-F615553EBA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800" kern="1200" spc="0" baseline="0" dirty="0">
                <a:solidFill>
                  <a:srgbClr val="7F9FD0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30710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C810FC-F638-46AD-B235-0880921D8B8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217400" cy="6858000"/>
          </a:xfrm>
        </p:spPr>
        <p:txBody>
          <a:bodyPr>
            <a:noAutofit/>
          </a:bodyPr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71ABD432-A4FB-4CCB-AD1D-7134E3BC5E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30000" y="0"/>
            <a:ext cx="8287385" cy="6858000"/>
          </a:xfrm>
          <a:custGeom>
            <a:avLst/>
            <a:gdLst>
              <a:gd name="connsiteX0" fmla="*/ 0 w 8262000"/>
              <a:gd name="connsiteY0" fmla="*/ 6858000 h 6858000"/>
              <a:gd name="connsiteX1" fmla="*/ 1562115 w 8262000"/>
              <a:gd name="connsiteY1" fmla="*/ 0 h 6858000"/>
              <a:gd name="connsiteX2" fmla="*/ 8262000 w 8262000"/>
              <a:gd name="connsiteY2" fmla="*/ 0 h 6858000"/>
              <a:gd name="connsiteX3" fmla="*/ 6699885 w 8262000"/>
              <a:gd name="connsiteY3" fmla="*/ 6858000 h 6858000"/>
              <a:gd name="connsiteX4" fmla="*/ 0 w 8262000"/>
              <a:gd name="connsiteY4" fmla="*/ 6858000 h 6858000"/>
              <a:gd name="connsiteX0" fmla="*/ 0 w 8287385"/>
              <a:gd name="connsiteY0" fmla="*/ 6858000 h 6858000"/>
              <a:gd name="connsiteX1" fmla="*/ 1562115 w 8287385"/>
              <a:gd name="connsiteY1" fmla="*/ 0 h 6858000"/>
              <a:gd name="connsiteX2" fmla="*/ 8262000 w 8287385"/>
              <a:gd name="connsiteY2" fmla="*/ 0 h 6858000"/>
              <a:gd name="connsiteX3" fmla="*/ 8287385 w 8287385"/>
              <a:gd name="connsiteY3" fmla="*/ 6858000 h 6858000"/>
              <a:gd name="connsiteX4" fmla="*/ 0 w 8287385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7385" h="6858000">
                <a:moveTo>
                  <a:pt x="0" y="6858000"/>
                </a:moveTo>
                <a:lnTo>
                  <a:pt x="1562115" y="0"/>
                </a:lnTo>
                <a:lnTo>
                  <a:pt x="8262000" y="0"/>
                </a:lnTo>
                <a:cubicBezTo>
                  <a:pt x="8270462" y="2286000"/>
                  <a:pt x="8278923" y="4572000"/>
                  <a:pt x="8287385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D5D6EAA-F2C9-49E9-A0AC-F7C7CC1D6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3148125"/>
            <a:ext cx="5100676" cy="153340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E682DD3C-CE39-428D-BEEC-F68FB098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4442" y="1410039"/>
            <a:ext cx="5099561" cy="1196366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8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82B6B39-FF56-403E-B50F-D231A08AFE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3324" y="2727341"/>
            <a:ext cx="5100676" cy="226472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2ACC35-BE79-40B3-AA31-8BA2AD689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75722" y="5321808"/>
            <a:ext cx="729579" cy="1536192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5138"/>
              <a:gd name="connsiteY0" fmla="*/ 10000 h 10000"/>
              <a:gd name="connsiteX1" fmla="*/ 2000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  <a:gd name="connsiteX0" fmla="*/ 0 w 15138"/>
              <a:gd name="connsiteY0" fmla="*/ 10000 h 10000"/>
              <a:gd name="connsiteX1" fmla="*/ 7073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38" h="10000">
                <a:moveTo>
                  <a:pt x="0" y="10000"/>
                </a:moveTo>
                <a:lnTo>
                  <a:pt x="7073" y="0"/>
                </a:lnTo>
                <a:lnTo>
                  <a:pt x="15138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100000">
                <a:srgbClr val="0040AA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1AE5102-FB2D-44E6-9A17-FFAC22AC9532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0" name="Oval 503">
              <a:extLst>
                <a:ext uri="{FF2B5EF4-FFF2-40B4-BE49-F238E27FC236}">
                  <a16:creationId xmlns:a16="http://schemas.microsoft.com/office/drawing/2014/main" id="{8B21FA44-B5BC-4541-82B4-6A3B17ED5F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04">
              <a:extLst>
                <a:ext uri="{FF2B5EF4-FFF2-40B4-BE49-F238E27FC236}">
                  <a16:creationId xmlns:a16="http://schemas.microsoft.com/office/drawing/2014/main" id="{01A2C8FC-7805-48D2-B74A-43DA25FE48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505">
              <a:extLst>
                <a:ext uri="{FF2B5EF4-FFF2-40B4-BE49-F238E27FC236}">
                  <a16:creationId xmlns:a16="http://schemas.microsoft.com/office/drawing/2014/main" id="{0C44E584-70D3-4383-9E45-5968EE9FFE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6">
              <a:extLst>
                <a:ext uri="{FF2B5EF4-FFF2-40B4-BE49-F238E27FC236}">
                  <a16:creationId xmlns:a16="http://schemas.microsoft.com/office/drawing/2014/main" id="{B60A44F4-CB46-40A3-A65C-7C37CE283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26027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Slide - Photo - Objec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A62947-245D-45F7-B4FA-0B8F0178C2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3EEE37-B469-45B6-A638-2EA2EF408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972614-18D9-4BA0-81FD-5B1AEA4DCB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/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084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6096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24660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682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- Card - Photo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1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rgbClr val="212A32">
                <a:alpha val="24000"/>
              </a:srgb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rgbClr val="212A32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E4184C-C85D-4079-A1E4-DEE06104CE29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16CE70-DCA6-448D-91B1-EF2E1829F833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1DEEBF9E-F0BD-4AB5-A705-C1BEF4DEB9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04">
              <a:extLst>
                <a:ext uri="{FF2B5EF4-FFF2-40B4-BE49-F238E27FC236}">
                  <a16:creationId xmlns:a16="http://schemas.microsoft.com/office/drawing/2014/main" id="{31358443-CA48-4C33-B80C-3C54F733F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25497808-311F-42DE-BCAC-95732420D6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6">
              <a:extLst>
                <a:ext uri="{FF2B5EF4-FFF2-40B4-BE49-F238E27FC236}">
                  <a16:creationId xmlns:a16="http://schemas.microsoft.com/office/drawing/2014/main" id="{F1EAF3E9-D924-4ACC-9D6C-A8210C89E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418156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478540-CB7A-A7A5-8DBA-13780A101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779EB9-2AB6-BB7A-96D0-388C4EA2F5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37EEDA-2B05-D79A-51ED-D936E7774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0F17D-76A0-05CE-9D59-BA26FFBF2F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C0238D-45B2-AD3C-68CE-09F274A2A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23467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DD25C-B3E7-A3B8-ACD5-D3CB4F387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2B334F-47DE-40E1-52BE-28C5EBD737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DB3A6-7CE0-0950-909A-D518723A0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45EEC2-B7B3-FDAF-33F6-5B0F4B6ED2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1D92E8-2480-6B28-8C95-9F4465C91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6472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965EF-F42D-E514-34BD-80BC78F54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788609-4FF1-6165-79DF-4C8A64AC89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14DD7D9-3A10-0896-2A92-626E2A649D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E0094A-2FD1-2B44-F38A-3A9E1DE0F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11C527-F053-635B-85A1-1FD7B6C02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2728C0-5CBA-85FD-966A-C3CB6A3894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9740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E7F38-6959-CD3C-0C45-E936EBB74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1CFBED-8892-1AC0-CA51-85423903FB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960E91-D458-EF7B-2F11-FF2790C881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4DE7B-C9A3-7831-B57D-DDE27EA17B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3566C9-832B-BBC5-0883-0A52D39947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ED5A065-80E9-A05B-CF24-2FE17FBE8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DCDE134-1783-45F5-1A78-8C88DDD2B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73255AA-FF04-E1E5-2F0B-8EE4FC4DD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83129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3B31FC-8ECF-074B-C0F2-344A3736C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77B8DB-0BCE-8CE9-2992-EC8C0940E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538613-7A0F-9710-C537-CC77803F8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919D7E-F712-6562-5D6A-C4B03B3E9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89173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DE147C-268A-616B-C801-9A0770861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B007A0-BE55-6D0F-A976-E313FE8E25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3F6317-2811-F0EA-96F4-2FE1BF5A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41239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0C7FC-CE74-62FD-3021-A28B37FEC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3E88D9-3F7D-660B-A3CA-41F4266117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3B673-6FF1-083C-061B-26474BFAF5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B4450C-7250-A565-02B3-AF5D493AE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D33C7E-29C4-D42B-452C-E789837FB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355467-4BA7-8C86-009B-101386CEE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4313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27DCF-1694-0D0C-0F11-E0BDD947E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7A67BE-8997-339C-C5B2-EAD0DA0019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C28A0F-34C4-2F09-5C26-299C2024CD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0963BB-3637-0D46-D6AA-9C0734861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F02608-FE46-A653-A671-0F70C965C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F6DB92-4038-B311-2185-103D5E8CA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184970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4A58BD-FD69-58BE-66CE-37F872883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B4F36F-7BA7-7FEB-EBD2-6EA09F2B56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F48732-2BC3-0843-E5D2-BDD00BAF4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599A7AB-0B05-4AFE-8327-63FE960CFAE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601A15-3FFE-A730-5239-A53DA91BC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3911E6-571F-7538-5BA9-F168D7B3E8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5F612DD-42A6-440B-8CEE-9E2C30E003A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73491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13EA9-159A-4AD7-9FEA-825643FAC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1763" y="2808501"/>
            <a:ext cx="5956916" cy="1219286"/>
          </a:xfrm>
        </p:spPr>
        <p:txBody>
          <a:bodyPr>
            <a:normAutofit/>
          </a:bodyPr>
          <a:lstStyle/>
          <a:p>
            <a:pPr algn="ctr"/>
            <a:br>
              <a:rPr lang="en-US" sz="4000" dirty="0"/>
            </a:br>
            <a:r>
              <a:rPr lang="en-US" sz="4000" dirty="0"/>
              <a:t>Load testing - Locust </a:t>
            </a:r>
          </a:p>
        </p:txBody>
      </p:sp>
    </p:spTree>
    <p:extLst>
      <p:ext uri="{BB962C8B-B14F-4D97-AF65-F5344CB8AC3E}">
        <p14:creationId xmlns:p14="http://schemas.microsoft.com/office/powerpoint/2010/main" val="3150563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8E15A2-39B2-4A11-806D-ECC14E8CC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B8E15A2-39B2-4A11-806D-ECC14E8CC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F3D7747-FC37-466C-BE98-EF8CFC8C4A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Black" panose="020B0A02040204020203" pitchFamily="34" charset="0"/>
              <a:ea typeface="+mn-ea"/>
              <a:cs typeface="Arial" panose="020B0604020202020204" pitchFamily="34" charset="0"/>
              <a:sym typeface="Segoe UI Black" panose="020B0A02040204020203" pitchFamily="34" charset="0"/>
            </a:endParaRPr>
          </a:p>
        </p:txBody>
      </p:sp>
      <p:pic>
        <p:nvPicPr>
          <p:cNvPr id="27" name="Picture Placeholder 26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D511AD64-3588-4574-ACDA-5EB4C44615A7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7"/>
          <a:srcRect t="104" b="104"/>
          <a:stretch>
            <a:fillRect/>
          </a:stretch>
        </p:blipFill>
        <p:spPr/>
      </p:pic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2D215B85-3F0E-4321-958C-1F585EE6137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EEF4128-4C15-4AA1-B41D-1C327A884A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2617075"/>
            <a:ext cx="5100676" cy="2215991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2400" dirty="0">
                <a:solidFill>
                  <a:schemeClr val="accent1"/>
                </a:solidFill>
              </a:rPr>
              <a:t>We exist to improve our customers’ business and the community around us. Our brand is synonymous with delivery excellence, dependability, and an employment destination for people that love solving problems.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1475AC6C-CB11-42D1-9089-1CC0C0C44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Statement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905C9919-FC10-4F1D-939E-87A7CE7275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117562F-7164-4807-9B6B-FA6D089E2DA9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5" name="Oval 503">
              <a:extLst>
                <a:ext uri="{FF2B5EF4-FFF2-40B4-BE49-F238E27FC236}">
                  <a16:creationId xmlns:a16="http://schemas.microsoft.com/office/drawing/2014/main" id="{C15390E3-0763-4FCF-B332-54AAE51726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504">
              <a:extLst>
                <a:ext uri="{FF2B5EF4-FFF2-40B4-BE49-F238E27FC236}">
                  <a16:creationId xmlns:a16="http://schemas.microsoft.com/office/drawing/2014/main" id="{7CC581C3-0473-4CCC-923E-C98D79B40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Oval 505">
              <a:extLst>
                <a:ext uri="{FF2B5EF4-FFF2-40B4-BE49-F238E27FC236}">
                  <a16:creationId xmlns:a16="http://schemas.microsoft.com/office/drawing/2014/main" id="{656B6ADC-2675-457E-94E0-0FA65343D2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506">
              <a:extLst>
                <a:ext uri="{FF2B5EF4-FFF2-40B4-BE49-F238E27FC236}">
                  <a16:creationId xmlns:a16="http://schemas.microsoft.com/office/drawing/2014/main" id="{D83B2126-E155-451E-A1FD-6C10E71CD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518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43EA2-4932-8D93-0D77-C3410D852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915432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2FF03A-136F-4100-9D8B-B431DE9CB3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6FB634-CD1A-271C-4CAB-F22F57AF7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Testing Using Locust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1CEA1-1053-741C-3A2D-D314F178CE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5"/>
            <a:ext cx="10339200" cy="4482390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An open-source load testing tool written in Python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Allows testing of web applications, APIs, and other systems by simulating concurrent user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Easy to use and highly extensible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Can simulate millions of users concurrently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Allows testing of both web applications and other systems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Prerequisite : Python ,  locust (pip install locust )</a:t>
            </a:r>
          </a:p>
        </p:txBody>
      </p:sp>
    </p:spTree>
    <p:extLst>
      <p:ext uri="{BB962C8B-B14F-4D97-AF65-F5344CB8AC3E}">
        <p14:creationId xmlns:p14="http://schemas.microsoft.com/office/powerpoint/2010/main" val="18694847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EFB57-839C-E88A-FC99-ACB0BD3E0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400" dirty="0"/>
              <a:t>Locust Test Script Structure</a:t>
            </a:r>
            <a:br>
              <a:rPr lang="en-US" sz="2400" dirty="0"/>
            </a:b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91A8AC-886B-8D0E-ACA8-C628F4F7AC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3"/>
            <a:ext cx="10339200" cy="4603577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Tasks: Define user actions to simulate (e.g., HTTP requests)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User Class: Represents virtual us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Weighting: Assign weights to tasks to simulate realistic usage patterns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+mj-lt"/>
              </a:rPr>
              <a:t>Run Locust in a master-worker setup for Distributed load testing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+mj-lt"/>
              </a:rPr>
              <a:t>Command to run the master node: locust -f &lt;your_locust_file.py&gt; --master --host=&lt;</a:t>
            </a:r>
            <a:r>
              <a:rPr lang="en-US" sz="1600" dirty="0" err="1">
                <a:latin typeface="+mj-lt"/>
              </a:rPr>
              <a:t>target_host</a:t>
            </a:r>
            <a:r>
              <a:rPr lang="en-US" sz="1600" dirty="0">
                <a:latin typeface="+mj-lt"/>
              </a:rPr>
              <a:t>&gt;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+mj-lt"/>
              </a:rPr>
              <a:t>Command to run the worker node: locust -f &lt;your_locust_file.py&gt; --worker --master-host=&lt;</a:t>
            </a:r>
            <a:r>
              <a:rPr lang="en-US" sz="1600" dirty="0" err="1">
                <a:latin typeface="+mj-lt"/>
              </a:rPr>
              <a:t>master_ip_address</a:t>
            </a:r>
            <a:r>
              <a:rPr lang="en-US" sz="1600" dirty="0">
                <a:latin typeface="+mj-lt"/>
              </a:rPr>
              <a:t>&gt; --host=&lt;</a:t>
            </a:r>
            <a:r>
              <a:rPr lang="en-US" sz="1600" dirty="0" err="1">
                <a:latin typeface="+mj-lt"/>
              </a:rPr>
              <a:t>target_host</a:t>
            </a:r>
            <a:r>
              <a:rPr lang="en-US" sz="1600" dirty="0">
                <a:latin typeface="+mj-lt"/>
              </a:rPr>
              <a:t>&gt;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b="0" i="0" u="none" strike="noStrike" dirty="0">
                <a:solidFill>
                  <a:schemeClr val="tx1"/>
                </a:solidFill>
                <a:effectLst/>
                <a:latin typeface="+mj-lt"/>
              </a:rPr>
              <a:t>Locust can be run headless, with results saved to csv or html files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+mj-lt"/>
              </a:rPr>
              <a:t>locust -f &lt;your_locust_file.py&gt; --headless --host=&lt;</a:t>
            </a:r>
            <a:r>
              <a:rPr lang="en-US" sz="1600" dirty="0" err="1">
                <a:latin typeface="+mj-lt"/>
              </a:rPr>
              <a:t>target_host</a:t>
            </a:r>
            <a:r>
              <a:rPr lang="en-US" sz="1600" dirty="0">
                <a:latin typeface="+mj-lt"/>
              </a:rPr>
              <a:t>&gt; --users &lt;</a:t>
            </a:r>
            <a:r>
              <a:rPr lang="en-US" sz="1600" dirty="0" err="1">
                <a:latin typeface="+mj-lt"/>
              </a:rPr>
              <a:t>number_of_users</a:t>
            </a:r>
            <a:r>
              <a:rPr lang="en-US" sz="1600" dirty="0">
                <a:latin typeface="+mj-lt"/>
              </a:rPr>
              <a:t>&gt; --spawn-rate &lt;</a:t>
            </a:r>
            <a:r>
              <a:rPr lang="en-US" sz="1600" dirty="0" err="1">
                <a:latin typeface="+mj-lt"/>
              </a:rPr>
              <a:t>spawn_rate</a:t>
            </a:r>
            <a:r>
              <a:rPr lang="en-US" sz="1600" dirty="0">
                <a:latin typeface="+mj-lt"/>
              </a:rPr>
              <a:t>&gt; --html=locust_results.html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endParaRPr lang="en-US" sz="1600" dirty="0"/>
          </a:p>
          <a:p>
            <a:endParaRPr lang="en-IN" sz="1600" dirty="0"/>
          </a:p>
        </p:txBody>
      </p:sp>
    </p:spTree>
    <p:extLst>
      <p:ext uri="{BB962C8B-B14F-4D97-AF65-F5344CB8AC3E}">
        <p14:creationId xmlns:p14="http://schemas.microsoft.com/office/powerpoint/2010/main" val="4162279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565DD2-786B-FE01-2DF9-BEE27F256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3D1202-0FB3-DE15-1E24-738FFAA06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0" y="3131932"/>
            <a:ext cx="4572000" cy="594137"/>
          </a:xfrm>
        </p:spPr>
        <p:txBody>
          <a:bodyPr/>
          <a:lstStyle/>
          <a:p>
            <a:r>
              <a:rPr lang="en-US" dirty="0"/>
              <a:t>Demo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545109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82EE23-255A-46B4-B54C-ADF6EEED4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365127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iXfiToRg29neM2RRj8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b00367e2-193a-4f48-94de-7245d45c0947}" enabled="0" method="" siteId="{b00367e2-193a-4f48-94de-7245d45c094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285</Words>
  <Application>Microsoft Office PowerPoint</Application>
  <PresentationFormat>Widescreen</PresentationFormat>
  <Paragraphs>23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ptos</vt:lpstr>
      <vt:lpstr>Aptos Display</vt:lpstr>
      <vt:lpstr>Arial</vt:lpstr>
      <vt:lpstr>Calibri</vt:lpstr>
      <vt:lpstr>Segoe UI</vt:lpstr>
      <vt:lpstr>Segoe UI Black</vt:lpstr>
      <vt:lpstr>Wingdings</vt:lpstr>
      <vt:lpstr>Office Theme</vt:lpstr>
      <vt:lpstr>think-cell Slide</vt:lpstr>
      <vt:lpstr> Load testing - Locust </vt:lpstr>
      <vt:lpstr>Mission Statement</vt:lpstr>
      <vt:lpstr>Introduction</vt:lpstr>
      <vt:lpstr>Load Testing Using Locust</vt:lpstr>
      <vt:lpstr>Locust Test Script Structure </vt:lpstr>
      <vt:lpstr>Demo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ada Najeeb</dc:creator>
  <cp:lastModifiedBy>Shada Najeeb</cp:lastModifiedBy>
  <cp:revision>1</cp:revision>
  <dcterms:created xsi:type="dcterms:W3CDTF">2025-04-01T06:42:32Z</dcterms:created>
  <dcterms:modified xsi:type="dcterms:W3CDTF">2025-04-01T06:56:28Z</dcterms:modified>
</cp:coreProperties>
</file>